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3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60CF309F-33B1-4BAC-8B91-ED4711BBD697}"/>
    <pc:docChg chg="delSld">
      <pc:chgData name="Meyer Raphael (PAR-ES)" userId="79615dfe-ed48-4e74-a40f-4f7b034c1c27" providerId="ADAL" clId="{60CF309F-33B1-4BAC-8B91-ED4711BBD697}" dt="2022-02-21T13:32:29.952" v="0" actId="47"/>
      <pc:docMkLst>
        <pc:docMk/>
      </pc:docMkLst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2617506047" sldId="405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943556213" sldId="406"/>
        </pc:sldMkLst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1214E44-7708-4760-9ACB-C0426B6F9754}"/>
    <pc:docChg chg="modSld">
      <pc:chgData name="Meyer Raphael (PAR-ES)" userId="79615dfe-ed48-4e74-a40f-4f7b034c1c27" providerId="ADAL" clId="{31214E44-7708-4760-9ACB-C0426B6F9754}" dt="2023-02-22T13:51:22.051" v="9" actId="20577"/>
      <pc:docMkLst>
        <pc:docMk/>
      </pc:docMkLst>
      <pc:sldChg chg="modSp mod">
        <pc:chgData name="Meyer Raphael (PAR-ES)" userId="79615dfe-ed48-4e74-a40f-4f7b034c1c27" providerId="ADAL" clId="{31214E44-7708-4760-9ACB-C0426B6F9754}" dt="2023-02-22T13:51:22.051" v="9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31214E44-7708-4760-9ACB-C0426B6F9754}" dt="2023-02-22T13:51:22.051" v="9" actId="20577"/>
          <ac:spMkLst>
            <pc:docMk/>
            <pc:sldMk cId="2624746743" sldId="40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Weigel Stefan (PAR-EPS)" userId="fd3b2067-2981-4ad8-bf3a-d2e1004e4fa8" providerId="ADAL" clId="{B1E29083-36CF-4F27-912A-E777E7C6E0D1}"/>
    <pc:docChg chg="modSld">
      <pc:chgData name="Weigel Stefan (PAR-EPS)" userId="fd3b2067-2981-4ad8-bf3a-d2e1004e4fa8" providerId="ADAL" clId="{B1E29083-36CF-4F27-912A-E777E7C6E0D1}" dt="2024-02-28T07:46:54.846" v="73" actId="27918"/>
      <pc:docMkLst>
        <pc:docMk/>
      </pc:docMkLst>
      <pc:sldChg chg="addSp modSp mod">
        <pc:chgData name="Weigel Stefan (PAR-EPS)" userId="fd3b2067-2981-4ad8-bf3a-d2e1004e4fa8" providerId="ADAL" clId="{B1E29083-36CF-4F27-912A-E777E7C6E0D1}" dt="2024-02-28T07:46:54.846" v="73" actId="27918"/>
        <pc:sldMkLst>
          <pc:docMk/>
          <pc:sldMk cId="2624746743" sldId="403"/>
        </pc:sldMkLst>
        <pc:spChg chg="add mod">
          <ac:chgData name="Weigel Stefan (PAR-EPS)" userId="fd3b2067-2981-4ad8-bf3a-d2e1004e4fa8" providerId="ADAL" clId="{B1E29083-36CF-4F27-912A-E777E7C6E0D1}" dt="2024-02-16T13:27:11.786" v="64"/>
          <ac:spMkLst>
            <pc:docMk/>
            <pc:sldMk cId="2624746743" sldId="403"/>
            <ac:spMk id="3" creationId="{448B6729-9DB3-D09A-8E00-1A816550D6A1}"/>
          </ac:spMkLst>
        </pc:spChg>
        <pc:graphicFrameChg chg="mod">
          <ac:chgData name="Weigel Stefan (PAR-EPS)" userId="fd3b2067-2981-4ad8-bf3a-d2e1004e4fa8" providerId="ADAL" clId="{B1E29083-36CF-4F27-912A-E777E7C6E0D1}" dt="2024-01-24T11:21:38.979" v="2"/>
          <ac:graphicFrameMkLst>
            <pc:docMk/>
            <pc:sldMk cId="2624746743" sldId="403"/>
            <ac:graphicFrameMk id="6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A7CFA518-1AA7-4027-A9AC-3956D15CEF62}"/>
    <pc:docChg chg="custSel modSld">
      <pc:chgData name="Weigel Stefan (PAR-EPS)" userId="fd3b2067-2981-4ad8-bf3a-d2e1004e4fa8" providerId="ADAL" clId="{A7CFA518-1AA7-4027-A9AC-3956D15CEF62}" dt="2024-01-23T18:27:30.900" v="171" actId="207"/>
      <pc:docMkLst>
        <pc:docMk/>
      </pc:docMkLst>
      <pc:sldChg chg="delSp modSp mod">
        <pc:chgData name="Weigel Stefan (PAR-EPS)" userId="fd3b2067-2981-4ad8-bf3a-d2e1004e4fa8" providerId="ADAL" clId="{A7CFA518-1AA7-4027-A9AC-3956D15CEF62}" dt="2024-01-23T18:27:30.900" v="171" actId="207"/>
        <pc:sldMkLst>
          <pc:docMk/>
          <pc:sldMk cId="2624746743" sldId="403"/>
        </pc:sldMkLst>
        <pc:spChg chg="mod">
          <ac:chgData name="Weigel Stefan (PAR-EPS)" userId="fd3b2067-2981-4ad8-bf3a-d2e1004e4fa8" providerId="ADAL" clId="{A7CFA518-1AA7-4027-A9AC-3956D15CEF62}" dt="2024-01-23T18:04:43.635" v="36" actId="20577"/>
          <ac:spMkLst>
            <pc:docMk/>
            <pc:sldMk cId="2624746743" sldId="40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7CFA518-1AA7-4027-A9AC-3956D15CEF62}" dt="2024-01-23T18:21:01.524" v="133" actId="255"/>
          <ac:spMkLst>
            <pc:docMk/>
            <pc:sldMk cId="2624746743" sldId="403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A7CFA518-1AA7-4027-A9AC-3956D15CEF62}" dt="2024-01-23T18:21:06.437" v="135" actId="6549"/>
          <ac:spMkLst>
            <pc:docMk/>
            <pc:sldMk cId="2624746743" sldId="403"/>
            <ac:spMk id="10" creationId="{00000000-0000-0000-0000-000000000000}"/>
          </ac:spMkLst>
        </pc:spChg>
        <pc:spChg chg="del">
          <ac:chgData name="Weigel Stefan (PAR-EPS)" userId="fd3b2067-2981-4ad8-bf3a-d2e1004e4fa8" providerId="ADAL" clId="{A7CFA518-1AA7-4027-A9AC-3956D15CEF62}" dt="2024-01-23T18:05:34.678" v="70" actId="478"/>
          <ac:spMkLst>
            <pc:docMk/>
            <pc:sldMk cId="2624746743" sldId="403"/>
            <ac:spMk id="11" creationId="{651B01CC-189F-4F80-9403-B5172C1D5545}"/>
          </ac:spMkLst>
        </pc:spChg>
        <pc:spChg chg="mod">
          <ac:chgData name="Weigel Stefan (PAR-EPS)" userId="fd3b2067-2981-4ad8-bf3a-d2e1004e4fa8" providerId="ADAL" clId="{A7CFA518-1AA7-4027-A9AC-3956D15CEF62}" dt="2024-01-23T18:21:34.435" v="140" actId="1076"/>
          <ac:spMkLst>
            <pc:docMk/>
            <pc:sldMk cId="2624746743" sldId="403"/>
            <ac:spMk id="12" creationId="{CC84096C-90C8-4FA1-B23B-21F5936F9AB5}"/>
          </ac:spMkLst>
        </pc:spChg>
        <pc:graphicFrameChg chg="mod">
          <ac:chgData name="Weigel Stefan (PAR-EPS)" userId="fd3b2067-2981-4ad8-bf3a-d2e1004e4fa8" providerId="ADAL" clId="{A7CFA518-1AA7-4027-A9AC-3956D15CEF62}" dt="2024-01-23T18:24:37.801" v="147" actId="207"/>
          <ac:graphicFrameMkLst>
            <pc:docMk/>
            <pc:sldMk cId="2624746743" sldId="403"/>
            <ac:graphicFrameMk id="6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A7CFA518-1AA7-4027-A9AC-3956D15CEF62}" dt="2024-01-23T18:27:30.900" v="171" actId="207"/>
          <ac:graphicFrameMkLst>
            <pc:docMk/>
            <pc:sldMk cId="2624746743" sldId="40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92126384163587"/>
          <c:y val="9.1785047991304089E-2"/>
          <c:w val="0.78539345807650462"/>
          <c:h val="0.61373971229810032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3952-46D1-9677-A139C7E6AA68}"/>
              </c:ext>
            </c:extLst>
          </c:dPt>
          <c:dPt>
            <c:idx val="1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3952-46D1-9677-A139C7E6AA68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5-3952-46D1-9677-A139C7E6AA68}"/>
              </c:ext>
            </c:extLst>
          </c:dPt>
          <c:dPt>
            <c:idx val="3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7-3952-46D1-9677-A139C7E6AA68}"/>
              </c:ext>
            </c:extLst>
          </c:dPt>
          <c:dPt>
            <c:idx val="4"/>
            <c:bubble3D val="0"/>
            <c:spPr>
              <a:solidFill>
                <a:srgbClr val="F2F2F2"/>
              </a:solidFill>
            </c:spPr>
            <c:extLst>
              <c:ext xmlns:c16="http://schemas.microsoft.com/office/drawing/2014/chart" uri="{C3380CC4-5D6E-409C-BE32-E72D297353CC}">
                <c16:uniqueId val="{00000009-3952-46D1-9677-A139C7E6AA68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3952-46D1-9677-A139C7E6AA68}"/>
              </c:ext>
            </c:extLst>
          </c:dPt>
          <c:cat>
            <c:strRef>
              <c:f>data!$F$3:$F$5</c:f>
              <c:strCache>
                <c:ptCount val="3"/>
                <c:pt idx="0">
                  <c:v>Unbegleiteter kombinierter Verkehr</c:v>
                </c:pt>
                <c:pt idx="1">
                  <c:v>Rollende Landstrasse</c:v>
                </c:pt>
                <c:pt idx="2">
                  <c:v>Wagenladungs·verkehr</c:v>
                </c:pt>
              </c:strCache>
            </c:strRef>
          </c:cat>
          <c:val>
            <c:numRef>
              <c:f>data!$G$3:$G$5</c:f>
              <c:numCache>
                <c:formatCode>#,##0.0</c:formatCode>
                <c:ptCount val="3"/>
                <c:pt idx="0">
                  <c:v>17.815999999999999</c:v>
                </c:pt>
                <c:pt idx="1">
                  <c:v>2.5990000000000002</c:v>
                </c:pt>
                <c:pt idx="2">
                  <c:v>24.225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952-46D1-9677-A139C7E6A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536386806010843E-2"/>
          <c:y val="3.6938713342205089E-2"/>
          <c:w val="0.61248872300955337"/>
          <c:h val="0.62912756188397911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553D-45BB-97FB-0A84E0E6166D}"/>
              </c:ext>
            </c:extLst>
          </c:dPt>
          <c:dPt>
            <c:idx val="1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553D-45BB-97FB-0A84E0E6166D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5-553D-45BB-97FB-0A84E0E6166D}"/>
              </c:ext>
            </c:extLst>
          </c:dPt>
          <c:dPt>
            <c:idx val="3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7-553D-45BB-97FB-0A84E0E6166D}"/>
              </c:ext>
            </c:extLst>
          </c:dPt>
          <c:dPt>
            <c:idx val="4"/>
            <c:bubble3D val="0"/>
            <c:spPr>
              <a:solidFill>
                <a:srgbClr val="F6F6F6"/>
              </a:solidFill>
            </c:spPr>
            <c:extLst>
              <c:ext xmlns:c16="http://schemas.microsoft.com/office/drawing/2014/chart" uri="{C3380CC4-5D6E-409C-BE32-E72D297353CC}">
                <c16:uniqueId val="{00000009-553D-45BB-97FB-0A84E0E6166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553D-45BB-97FB-0A84E0E6166D}"/>
              </c:ext>
            </c:extLst>
          </c:dPt>
          <c:cat>
            <c:strRef>
              <c:f>data!$F$3:$F$5</c:f>
              <c:strCache>
                <c:ptCount val="3"/>
                <c:pt idx="0">
                  <c:v>Unbegleiteter kombinierter Verkehr</c:v>
                </c:pt>
                <c:pt idx="1">
                  <c:v>Rollende Landstrasse</c:v>
                </c:pt>
                <c:pt idx="2">
                  <c:v>Wagenladungsverkehr</c:v>
                </c:pt>
              </c:strCache>
            </c:strRef>
          </c:cat>
          <c:val>
            <c:numRef>
              <c:f>data!$G$3:$G$5</c:f>
              <c:numCache>
                <c:formatCode>#,##0</c:formatCode>
                <c:ptCount val="3"/>
                <c:pt idx="0">
                  <c:v>11180.437151230301</c:v>
                </c:pt>
                <c:pt idx="1">
                  <c:v>380.68342250439702</c:v>
                </c:pt>
                <c:pt idx="2">
                  <c:v>4743.4182078771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53D-45BB-97FB-0A84E0E616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8.0214018825848915E-2"/>
          <c:y val="0.72713556662919787"/>
          <c:w val="0.563584481199919"/>
          <c:h val="0.16697345512314746"/>
        </c:manualLayout>
      </c:layout>
      <c:overlay val="0"/>
      <c:txPr>
        <a:bodyPr/>
        <a:lstStyle/>
        <a:p>
          <a:pPr>
            <a:defRPr sz="105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FD85F2E-7777-467D-97E5-7BF1990746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FD85F2E-7777-467D-97E5-7BF199074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1DB2EFA-8FDF-4ECB-B7CD-4DF763EE788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Güterverkehr SBB nach Verkehrsart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252398511"/>
              </p:ext>
            </p:extLst>
          </p:nvPr>
        </p:nvGraphicFramePr>
        <p:xfrm>
          <a:off x="1462357" y="1401635"/>
          <a:ext cx="4130834" cy="5286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2949969164"/>
              </p:ext>
            </p:extLst>
          </p:nvPr>
        </p:nvGraphicFramePr>
        <p:xfrm>
          <a:off x="6096000" y="1700808"/>
          <a:ext cx="5297291" cy="5157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485097" y="152078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5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Anteile am Verkehrsaufkommen (Nettotonnen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05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6280787" y="1525442"/>
            <a:ext cx="3327739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5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Anteile an der Verkehrsleistung (Nettotonnenkilometer)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C84096C-90C8-4FA1-B23B-21F5936F9AB5}"/>
              </a:ext>
            </a:extLst>
          </p:cNvPr>
          <p:cNvSpPr txBox="1">
            <a:spLocks/>
          </p:cNvSpPr>
          <p:nvPr/>
        </p:nvSpPr>
        <p:spPr>
          <a:xfrm>
            <a:off x="9055510" y="6092825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5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448B6729-9DB3-D09A-8E00-1A816550D6A1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746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aq6byWRyGrSbF6Vi1ZR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96e82a89-ba48-4728-b345-cf206dbec8f1"/>
    <ds:schemaRef ds:uri="2f5c8543-cf23-4718-a3b8-32b0a91d511a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B15A6FD-40C3-4756-8999-A53960B70B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7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Güterverkehr SBB nach Verkehrsart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üterverkehr SBB nach Verkehrsart.</dc:title>
  <dc:creator>Meyer Raphael (KOM-PGA-VSF)</dc:creator>
  <cp:lastModifiedBy>Stefan Weigel (PAR-EPS)</cp:lastModifiedBy>
  <cp:revision>59</cp:revision>
  <cp:lastPrinted>2024-02-16T13:27:13Z</cp:lastPrinted>
  <dcterms:created xsi:type="dcterms:W3CDTF">2020-09-30T11:00:09Z</dcterms:created>
  <dcterms:modified xsi:type="dcterms:W3CDTF">2024-02-28T12:08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